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2.xml" ContentType="application/vnd.openxmlformats-officedocument.themeOverrid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3.xml" ContentType="application/vnd.openxmlformats-officedocument.themeOverrid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788" r:id="rId4"/>
    <p:sldMasterId id="2147483813" r:id="rId5"/>
    <p:sldMasterId id="2147483838" r:id="rId6"/>
  </p:sldMasterIdLst>
  <p:notesMasterIdLst>
    <p:notesMasterId r:id="rId16"/>
  </p:notesMasterIdLst>
  <p:handoutMasterIdLst>
    <p:handoutMasterId r:id="rId17"/>
  </p:handoutMasterIdLst>
  <p:sldIdLst>
    <p:sldId id="480" r:id="rId7"/>
    <p:sldId id="490" r:id="rId8"/>
    <p:sldId id="572" r:id="rId9"/>
    <p:sldId id="557" r:id="rId10"/>
    <p:sldId id="567" r:id="rId11"/>
    <p:sldId id="568" r:id="rId12"/>
    <p:sldId id="573" r:id="rId13"/>
    <p:sldId id="570" r:id="rId14"/>
    <p:sldId id="574" r:id="rId15"/>
  </p:sldIdLst>
  <p:sldSz cx="9144000" cy="6858000" type="screen4x3"/>
  <p:notesSz cx="6797675" cy="9926638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49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chy, Petr (CZ - Prague)" initials="SP(-P" lastIdx="8" clrIdx="0">
    <p:extLst>
      <p:ext uri="{19B8F6BF-5375-455C-9EA6-DF929625EA0E}">
        <p15:presenceInfo xmlns:p15="http://schemas.microsoft.com/office/powerpoint/2012/main" userId="S-1-5-21-2094927150-201071529-617630493-781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B323"/>
    <a:srgbClr val="000000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7" autoAdjust="0"/>
    <p:restoredTop sz="95000" autoAdjust="0"/>
  </p:normalViewPr>
  <p:slideViewPr>
    <p:cSldViewPr snapToGrid="0" showGuides="1">
      <p:cViewPr varScale="1">
        <p:scale>
          <a:sx n="101" d="100"/>
          <a:sy n="101" d="100"/>
        </p:scale>
        <p:origin x="1722" y="114"/>
      </p:cViewPr>
      <p:guideLst>
        <p:guide pos="226"/>
        <p:guide pos="5511"/>
        <p:guide orient="horz" pos="1049"/>
        <p:guide orient="horz" pos="4020"/>
        <p:guide orient="horz" pos="187"/>
        <p:guide orient="horz" pos="867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chy, Petr" userId="cc7d24c2-a1aa-4346-9baa-25b838949cf3" providerId="ADAL" clId="{285E8249-F71A-4E9D-BDFD-B9AF03B3C290}"/>
    <pc:docChg chg="custSel modMainMaster">
      <pc:chgData name="Suchy, Petr" userId="cc7d24c2-a1aa-4346-9baa-25b838949cf3" providerId="ADAL" clId="{285E8249-F71A-4E9D-BDFD-B9AF03B3C290}" dt="2023-02-20T15:37:55.616" v="64" actId="478"/>
      <pc:docMkLst>
        <pc:docMk/>
      </pc:docMkLst>
      <pc:sldMasterChg chg="modSldLayout">
        <pc:chgData name="Suchy, Petr" userId="cc7d24c2-a1aa-4346-9baa-25b838949cf3" providerId="ADAL" clId="{285E8249-F71A-4E9D-BDFD-B9AF03B3C290}" dt="2023-02-20T15:36:46.489" v="18" actId="478"/>
        <pc:sldMasterMkLst>
          <pc:docMk/>
          <pc:sldMasterMk cId="1021819445" sldId="2147483788"/>
        </pc:sldMasterMkLst>
        <pc:sldLayoutChg chg="delSp mod">
          <pc:chgData name="Suchy, Petr" userId="cc7d24c2-a1aa-4346-9baa-25b838949cf3" providerId="ADAL" clId="{285E8249-F71A-4E9D-BDFD-B9AF03B3C290}" dt="2023-02-20T15:36:24.472" v="3" actId="478"/>
          <pc:sldLayoutMkLst>
            <pc:docMk/>
            <pc:sldMasterMk cId="1021819445" sldId="2147483788"/>
            <pc:sldLayoutMk cId="3327316480" sldId="2147483796"/>
          </pc:sldLayoutMkLst>
          <pc:spChg chg="del">
            <ac:chgData name="Suchy, Petr" userId="cc7d24c2-a1aa-4346-9baa-25b838949cf3" providerId="ADAL" clId="{285E8249-F71A-4E9D-BDFD-B9AF03B3C290}" dt="2023-02-20T15:36:23.585" v="2" actId="478"/>
            <ac:spMkLst>
              <pc:docMk/>
              <pc:sldMasterMk cId="1021819445" sldId="2147483788"/>
              <pc:sldLayoutMk cId="3327316480" sldId="2147483796"/>
              <ac:spMk id="3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6:24.472" v="3" actId="478"/>
            <ac:spMkLst>
              <pc:docMk/>
              <pc:sldMasterMk cId="1021819445" sldId="2147483788"/>
              <pc:sldLayoutMk cId="3327316480" sldId="2147483796"/>
              <ac:spMk id="5" creationId="{00000000-0000-0000-0000-000000000000}"/>
            </ac:spMkLst>
          </pc:spChg>
        </pc:sldLayoutChg>
        <pc:sldLayoutChg chg="delSp modSp mod">
          <pc:chgData name="Suchy, Petr" userId="cc7d24c2-a1aa-4346-9baa-25b838949cf3" providerId="ADAL" clId="{285E8249-F71A-4E9D-BDFD-B9AF03B3C290}" dt="2023-02-20T15:36:28.651" v="6" actId="478"/>
          <pc:sldLayoutMkLst>
            <pc:docMk/>
            <pc:sldMasterMk cId="1021819445" sldId="2147483788"/>
            <pc:sldLayoutMk cId="1663303484" sldId="2147483797"/>
          </pc:sldLayoutMkLst>
          <pc:spChg chg="del mod">
            <ac:chgData name="Suchy, Petr" userId="cc7d24c2-a1aa-4346-9baa-25b838949cf3" providerId="ADAL" clId="{285E8249-F71A-4E9D-BDFD-B9AF03B3C290}" dt="2023-02-20T15:36:27.683" v="5" actId="478"/>
            <ac:spMkLst>
              <pc:docMk/>
              <pc:sldMasterMk cId="1021819445" sldId="2147483788"/>
              <pc:sldLayoutMk cId="1663303484" sldId="2147483797"/>
              <ac:spMk id="5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6:28.651" v="6" actId="478"/>
            <ac:spMkLst>
              <pc:docMk/>
              <pc:sldMasterMk cId="1021819445" sldId="2147483788"/>
              <pc:sldLayoutMk cId="1663303484" sldId="2147483797"/>
              <ac:spMk id="6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6:31.762" v="8" actId="478"/>
          <pc:sldLayoutMkLst>
            <pc:docMk/>
            <pc:sldMasterMk cId="1021819445" sldId="2147483788"/>
            <pc:sldLayoutMk cId="3320535835" sldId="2147483804"/>
          </pc:sldLayoutMkLst>
          <pc:spChg chg="del">
            <ac:chgData name="Suchy, Petr" userId="cc7d24c2-a1aa-4346-9baa-25b838949cf3" providerId="ADAL" clId="{285E8249-F71A-4E9D-BDFD-B9AF03B3C290}" dt="2023-02-20T15:36:30.819" v="7" actId="478"/>
            <ac:spMkLst>
              <pc:docMk/>
              <pc:sldMasterMk cId="1021819445" sldId="2147483788"/>
              <pc:sldLayoutMk cId="3320535835" sldId="2147483804"/>
              <ac:spMk id="12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6:31.762" v="8" actId="478"/>
            <ac:spMkLst>
              <pc:docMk/>
              <pc:sldMasterMk cId="1021819445" sldId="2147483788"/>
              <pc:sldLayoutMk cId="3320535835" sldId="2147483804"/>
              <ac:spMk id="13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6:34.823" v="10" actId="478"/>
          <pc:sldLayoutMkLst>
            <pc:docMk/>
            <pc:sldMasterMk cId="1021819445" sldId="2147483788"/>
            <pc:sldLayoutMk cId="4250057389" sldId="2147483806"/>
          </pc:sldLayoutMkLst>
          <pc:spChg chg="del">
            <ac:chgData name="Suchy, Petr" userId="cc7d24c2-a1aa-4346-9baa-25b838949cf3" providerId="ADAL" clId="{285E8249-F71A-4E9D-BDFD-B9AF03B3C290}" dt="2023-02-20T15:36:33.875" v="9" actId="478"/>
            <ac:spMkLst>
              <pc:docMk/>
              <pc:sldMasterMk cId="1021819445" sldId="2147483788"/>
              <pc:sldLayoutMk cId="4250057389" sldId="2147483806"/>
              <ac:spMk id="11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6:34.823" v="10" actId="478"/>
            <ac:spMkLst>
              <pc:docMk/>
              <pc:sldMasterMk cId="1021819445" sldId="2147483788"/>
              <pc:sldLayoutMk cId="4250057389" sldId="2147483806"/>
              <ac:spMk id="13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6:37.909" v="12" actId="478"/>
          <pc:sldLayoutMkLst>
            <pc:docMk/>
            <pc:sldMasterMk cId="1021819445" sldId="2147483788"/>
            <pc:sldLayoutMk cId="2978480987" sldId="2147483807"/>
          </pc:sldLayoutMkLst>
          <pc:spChg chg="del">
            <ac:chgData name="Suchy, Petr" userId="cc7d24c2-a1aa-4346-9baa-25b838949cf3" providerId="ADAL" clId="{285E8249-F71A-4E9D-BDFD-B9AF03B3C290}" dt="2023-02-20T15:36:36.765" v="11" actId="478"/>
            <ac:spMkLst>
              <pc:docMk/>
              <pc:sldMasterMk cId="1021819445" sldId="2147483788"/>
              <pc:sldLayoutMk cId="2978480987" sldId="2147483807"/>
              <ac:spMk id="25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6:37.909" v="12" actId="478"/>
            <ac:spMkLst>
              <pc:docMk/>
              <pc:sldMasterMk cId="1021819445" sldId="2147483788"/>
              <pc:sldLayoutMk cId="2978480987" sldId="2147483807"/>
              <ac:spMk id="26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6:40.730" v="14" actId="478"/>
          <pc:sldLayoutMkLst>
            <pc:docMk/>
            <pc:sldMasterMk cId="1021819445" sldId="2147483788"/>
            <pc:sldLayoutMk cId="299032127" sldId="2147483808"/>
          </pc:sldLayoutMkLst>
          <pc:spChg chg="del">
            <ac:chgData name="Suchy, Petr" userId="cc7d24c2-a1aa-4346-9baa-25b838949cf3" providerId="ADAL" clId="{285E8249-F71A-4E9D-BDFD-B9AF03B3C290}" dt="2023-02-20T15:36:39.813" v="13" actId="478"/>
            <ac:spMkLst>
              <pc:docMk/>
              <pc:sldMasterMk cId="1021819445" sldId="2147483788"/>
              <pc:sldLayoutMk cId="299032127" sldId="2147483808"/>
              <ac:spMk id="26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6:40.730" v="14" actId="478"/>
            <ac:spMkLst>
              <pc:docMk/>
              <pc:sldMasterMk cId="1021819445" sldId="2147483788"/>
              <pc:sldLayoutMk cId="299032127" sldId="2147483808"/>
              <ac:spMk id="27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6:43.387" v="16" actId="478"/>
          <pc:sldLayoutMkLst>
            <pc:docMk/>
            <pc:sldMasterMk cId="1021819445" sldId="2147483788"/>
            <pc:sldLayoutMk cId="1681451677" sldId="2147483809"/>
          </pc:sldLayoutMkLst>
          <pc:spChg chg="del">
            <ac:chgData name="Suchy, Petr" userId="cc7d24c2-a1aa-4346-9baa-25b838949cf3" providerId="ADAL" clId="{285E8249-F71A-4E9D-BDFD-B9AF03B3C290}" dt="2023-02-20T15:36:42.502" v="15" actId="478"/>
            <ac:spMkLst>
              <pc:docMk/>
              <pc:sldMasterMk cId="1021819445" sldId="2147483788"/>
              <pc:sldLayoutMk cId="1681451677" sldId="2147483809"/>
              <ac:spMk id="17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6:43.387" v="16" actId="478"/>
            <ac:spMkLst>
              <pc:docMk/>
              <pc:sldMasterMk cId="1021819445" sldId="2147483788"/>
              <pc:sldLayoutMk cId="1681451677" sldId="2147483809"/>
              <ac:spMk id="18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6:46.489" v="18" actId="478"/>
          <pc:sldLayoutMkLst>
            <pc:docMk/>
            <pc:sldMasterMk cId="1021819445" sldId="2147483788"/>
            <pc:sldLayoutMk cId="2529924065" sldId="2147483810"/>
          </pc:sldLayoutMkLst>
          <pc:spChg chg="del">
            <ac:chgData name="Suchy, Petr" userId="cc7d24c2-a1aa-4346-9baa-25b838949cf3" providerId="ADAL" clId="{285E8249-F71A-4E9D-BDFD-B9AF03B3C290}" dt="2023-02-20T15:36:45.667" v="17" actId="478"/>
            <ac:spMkLst>
              <pc:docMk/>
              <pc:sldMasterMk cId="1021819445" sldId="2147483788"/>
              <pc:sldLayoutMk cId="2529924065" sldId="2147483810"/>
              <ac:spMk id="13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6:46.489" v="18" actId="478"/>
            <ac:spMkLst>
              <pc:docMk/>
              <pc:sldMasterMk cId="1021819445" sldId="2147483788"/>
              <pc:sldLayoutMk cId="2529924065" sldId="2147483810"/>
              <ac:spMk id="16" creationId="{00000000-0000-0000-0000-000000000000}"/>
            </ac:spMkLst>
          </pc:spChg>
        </pc:sldLayoutChg>
      </pc:sldMasterChg>
      <pc:sldMasterChg chg="modSldLayout">
        <pc:chgData name="Suchy, Petr" userId="cc7d24c2-a1aa-4346-9baa-25b838949cf3" providerId="ADAL" clId="{285E8249-F71A-4E9D-BDFD-B9AF03B3C290}" dt="2023-02-20T15:37:19.776" v="40" actId="478"/>
        <pc:sldMasterMkLst>
          <pc:docMk/>
          <pc:sldMasterMk cId="1469980840" sldId="2147483813"/>
        </pc:sldMasterMkLst>
        <pc:sldLayoutChg chg="delSp mod">
          <pc:chgData name="Suchy, Petr" userId="cc7d24c2-a1aa-4346-9baa-25b838949cf3" providerId="ADAL" clId="{285E8249-F71A-4E9D-BDFD-B9AF03B3C290}" dt="2023-02-20T15:36:49.617" v="20" actId="478"/>
          <pc:sldLayoutMkLst>
            <pc:docMk/>
            <pc:sldMasterMk cId="1469980840" sldId="2147483813"/>
            <pc:sldLayoutMk cId="1838242625" sldId="2147483818"/>
          </pc:sldLayoutMkLst>
          <pc:spChg chg="del">
            <ac:chgData name="Suchy, Petr" userId="cc7d24c2-a1aa-4346-9baa-25b838949cf3" providerId="ADAL" clId="{285E8249-F71A-4E9D-BDFD-B9AF03B3C290}" dt="2023-02-20T15:36:48.912" v="19" actId="478"/>
            <ac:spMkLst>
              <pc:docMk/>
              <pc:sldMasterMk cId="1469980840" sldId="2147483813"/>
              <pc:sldLayoutMk cId="1838242625" sldId="2147483818"/>
              <ac:spMk id="4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6:49.617" v="20" actId="478"/>
            <ac:spMkLst>
              <pc:docMk/>
              <pc:sldMasterMk cId="1469980840" sldId="2147483813"/>
              <pc:sldLayoutMk cId="1838242625" sldId="2147483818"/>
              <ac:spMk id="5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6:52.572" v="22" actId="478"/>
          <pc:sldLayoutMkLst>
            <pc:docMk/>
            <pc:sldMasterMk cId="1469980840" sldId="2147483813"/>
            <pc:sldLayoutMk cId="278822648" sldId="2147483819"/>
          </pc:sldLayoutMkLst>
          <pc:spChg chg="del">
            <ac:chgData name="Suchy, Petr" userId="cc7d24c2-a1aa-4346-9baa-25b838949cf3" providerId="ADAL" clId="{285E8249-F71A-4E9D-BDFD-B9AF03B3C290}" dt="2023-02-20T15:36:51.667" v="21" actId="478"/>
            <ac:spMkLst>
              <pc:docMk/>
              <pc:sldMasterMk cId="1469980840" sldId="2147483813"/>
              <pc:sldLayoutMk cId="278822648" sldId="2147483819"/>
              <ac:spMk id="4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6:52.572" v="22" actId="478"/>
            <ac:spMkLst>
              <pc:docMk/>
              <pc:sldMasterMk cId="1469980840" sldId="2147483813"/>
              <pc:sldLayoutMk cId="278822648" sldId="2147483819"/>
              <ac:spMk id="5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6:55.281" v="24" actId="478"/>
          <pc:sldLayoutMkLst>
            <pc:docMk/>
            <pc:sldMasterMk cId="1469980840" sldId="2147483813"/>
            <pc:sldLayoutMk cId="3370542860" sldId="2147483820"/>
          </pc:sldLayoutMkLst>
          <pc:spChg chg="del">
            <ac:chgData name="Suchy, Petr" userId="cc7d24c2-a1aa-4346-9baa-25b838949cf3" providerId="ADAL" clId="{285E8249-F71A-4E9D-BDFD-B9AF03B3C290}" dt="2023-02-20T15:36:54.490" v="23" actId="478"/>
            <ac:spMkLst>
              <pc:docMk/>
              <pc:sldMasterMk cId="1469980840" sldId="2147483813"/>
              <pc:sldLayoutMk cId="3370542860" sldId="2147483820"/>
              <ac:spMk id="5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6:55.281" v="24" actId="478"/>
            <ac:spMkLst>
              <pc:docMk/>
              <pc:sldMasterMk cId="1469980840" sldId="2147483813"/>
              <pc:sldLayoutMk cId="3370542860" sldId="2147483820"/>
              <ac:spMk id="6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6:58.374" v="26" actId="478"/>
          <pc:sldLayoutMkLst>
            <pc:docMk/>
            <pc:sldMasterMk cId="1469980840" sldId="2147483813"/>
            <pc:sldLayoutMk cId="966331776" sldId="2147483821"/>
          </pc:sldLayoutMkLst>
          <pc:spChg chg="del">
            <ac:chgData name="Suchy, Petr" userId="cc7d24c2-a1aa-4346-9baa-25b838949cf3" providerId="ADAL" clId="{285E8249-F71A-4E9D-BDFD-B9AF03B3C290}" dt="2023-02-20T15:36:57.421" v="25" actId="478"/>
            <ac:spMkLst>
              <pc:docMk/>
              <pc:sldMasterMk cId="1469980840" sldId="2147483813"/>
              <pc:sldLayoutMk cId="966331776" sldId="2147483821"/>
              <ac:spMk id="3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6:58.374" v="26" actId="478"/>
            <ac:spMkLst>
              <pc:docMk/>
              <pc:sldMasterMk cId="1469980840" sldId="2147483813"/>
              <pc:sldLayoutMk cId="966331776" sldId="2147483821"/>
              <ac:spMk id="5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01.389" v="28" actId="478"/>
          <pc:sldLayoutMkLst>
            <pc:docMk/>
            <pc:sldMasterMk cId="1469980840" sldId="2147483813"/>
            <pc:sldLayoutMk cId="100679388" sldId="2147483822"/>
          </pc:sldLayoutMkLst>
          <pc:spChg chg="del">
            <ac:chgData name="Suchy, Petr" userId="cc7d24c2-a1aa-4346-9baa-25b838949cf3" providerId="ADAL" clId="{285E8249-F71A-4E9D-BDFD-B9AF03B3C290}" dt="2023-02-20T15:37:00.529" v="27" actId="478"/>
            <ac:spMkLst>
              <pc:docMk/>
              <pc:sldMasterMk cId="1469980840" sldId="2147483813"/>
              <pc:sldLayoutMk cId="100679388" sldId="2147483822"/>
              <ac:spMk id="5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01.389" v="28" actId="478"/>
            <ac:spMkLst>
              <pc:docMk/>
              <pc:sldMasterMk cId="1469980840" sldId="2147483813"/>
              <pc:sldLayoutMk cId="100679388" sldId="2147483822"/>
              <ac:spMk id="6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04.201" v="30" actId="478"/>
          <pc:sldLayoutMkLst>
            <pc:docMk/>
            <pc:sldMasterMk cId="1469980840" sldId="2147483813"/>
            <pc:sldLayoutMk cId="3414594479" sldId="2147483829"/>
          </pc:sldLayoutMkLst>
          <pc:spChg chg="del">
            <ac:chgData name="Suchy, Petr" userId="cc7d24c2-a1aa-4346-9baa-25b838949cf3" providerId="ADAL" clId="{285E8249-F71A-4E9D-BDFD-B9AF03B3C290}" dt="2023-02-20T15:37:03.475" v="29" actId="478"/>
            <ac:spMkLst>
              <pc:docMk/>
              <pc:sldMasterMk cId="1469980840" sldId="2147483813"/>
              <pc:sldLayoutMk cId="3414594479" sldId="2147483829"/>
              <ac:spMk id="12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04.201" v="30" actId="478"/>
            <ac:spMkLst>
              <pc:docMk/>
              <pc:sldMasterMk cId="1469980840" sldId="2147483813"/>
              <pc:sldLayoutMk cId="3414594479" sldId="2147483829"/>
              <ac:spMk id="13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06.965" v="32" actId="478"/>
          <pc:sldLayoutMkLst>
            <pc:docMk/>
            <pc:sldMasterMk cId="1469980840" sldId="2147483813"/>
            <pc:sldLayoutMk cId="106695154" sldId="2147483831"/>
          </pc:sldLayoutMkLst>
          <pc:spChg chg="del">
            <ac:chgData name="Suchy, Petr" userId="cc7d24c2-a1aa-4346-9baa-25b838949cf3" providerId="ADAL" clId="{285E8249-F71A-4E9D-BDFD-B9AF03B3C290}" dt="2023-02-20T15:37:06.053" v="31" actId="478"/>
            <ac:spMkLst>
              <pc:docMk/>
              <pc:sldMasterMk cId="1469980840" sldId="2147483813"/>
              <pc:sldLayoutMk cId="106695154" sldId="2147483831"/>
              <ac:spMk id="11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06.965" v="32" actId="478"/>
            <ac:spMkLst>
              <pc:docMk/>
              <pc:sldMasterMk cId="1469980840" sldId="2147483813"/>
              <pc:sldLayoutMk cId="106695154" sldId="2147483831"/>
              <ac:spMk id="13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10.402" v="34" actId="478"/>
          <pc:sldLayoutMkLst>
            <pc:docMk/>
            <pc:sldMasterMk cId="1469980840" sldId="2147483813"/>
            <pc:sldLayoutMk cId="3456554001" sldId="2147483832"/>
          </pc:sldLayoutMkLst>
          <pc:spChg chg="del">
            <ac:chgData name="Suchy, Petr" userId="cc7d24c2-a1aa-4346-9baa-25b838949cf3" providerId="ADAL" clId="{285E8249-F71A-4E9D-BDFD-B9AF03B3C290}" dt="2023-02-20T15:37:09.277" v="33" actId="478"/>
            <ac:spMkLst>
              <pc:docMk/>
              <pc:sldMasterMk cId="1469980840" sldId="2147483813"/>
              <pc:sldLayoutMk cId="3456554001" sldId="2147483832"/>
              <ac:spMk id="18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10.402" v="34" actId="478"/>
            <ac:spMkLst>
              <pc:docMk/>
              <pc:sldMasterMk cId="1469980840" sldId="2147483813"/>
              <pc:sldLayoutMk cId="3456554001" sldId="2147483832"/>
              <ac:spMk id="19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13.260" v="36" actId="478"/>
          <pc:sldLayoutMkLst>
            <pc:docMk/>
            <pc:sldMasterMk cId="1469980840" sldId="2147483813"/>
            <pc:sldLayoutMk cId="2118924520" sldId="2147483833"/>
          </pc:sldLayoutMkLst>
          <pc:spChg chg="del">
            <ac:chgData name="Suchy, Petr" userId="cc7d24c2-a1aa-4346-9baa-25b838949cf3" providerId="ADAL" clId="{285E8249-F71A-4E9D-BDFD-B9AF03B3C290}" dt="2023-02-20T15:37:12.281" v="35" actId="478"/>
            <ac:spMkLst>
              <pc:docMk/>
              <pc:sldMasterMk cId="1469980840" sldId="2147483813"/>
              <pc:sldLayoutMk cId="2118924520" sldId="2147483833"/>
              <ac:spMk id="6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13.260" v="36" actId="478"/>
            <ac:spMkLst>
              <pc:docMk/>
              <pc:sldMasterMk cId="1469980840" sldId="2147483813"/>
              <pc:sldLayoutMk cId="2118924520" sldId="2147483833"/>
              <ac:spMk id="7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16.329" v="38" actId="478"/>
          <pc:sldLayoutMkLst>
            <pc:docMk/>
            <pc:sldMasterMk cId="1469980840" sldId="2147483813"/>
            <pc:sldLayoutMk cId="1012010136" sldId="2147483834"/>
          </pc:sldLayoutMkLst>
          <pc:spChg chg="del">
            <ac:chgData name="Suchy, Petr" userId="cc7d24c2-a1aa-4346-9baa-25b838949cf3" providerId="ADAL" clId="{285E8249-F71A-4E9D-BDFD-B9AF03B3C290}" dt="2023-02-20T15:37:15.382" v="37" actId="478"/>
            <ac:spMkLst>
              <pc:docMk/>
              <pc:sldMasterMk cId="1469980840" sldId="2147483813"/>
              <pc:sldLayoutMk cId="1012010136" sldId="2147483834"/>
              <ac:spMk id="7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16.329" v="38" actId="478"/>
            <ac:spMkLst>
              <pc:docMk/>
              <pc:sldMasterMk cId="1469980840" sldId="2147483813"/>
              <pc:sldLayoutMk cId="1012010136" sldId="2147483834"/>
              <ac:spMk id="10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19.776" v="40" actId="478"/>
          <pc:sldLayoutMkLst>
            <pc:docMk/>
            <pc:sldMasterMk cId="1469980840" sldId="2147483813"/>
            <pc:sldLayoutMk cId="1482617927" sldId="2147483835"/>
          </pc:sldLayoutMkLst>
          <pc:spChg chg="del">
            <ac:chgData name="Suchy, Petr" userId="cc7d24c2-a1aa-4346-9baa-25b838949cf3" providerId="ADAL" clId="{285E8249-F71A-4E9D-BDFD-B9AF03B3C290}" dt="2023-02-20T15:37:18.614" v="39" actId="478"/>
            <ac:spMkLst>
              <pc:docMk/>
              <pc:sldMasterMk cId="1469980840" sldId="2147483813"/>
              <pc:sldLayoutMk cId="1482617927" sldId="2147483835"/>
              <ac:spMk id="13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19.776" v="40" actId="478"/>
            <ac:spMkLst>
              <pc:docMk/>
              <pc:sldMasterMk cId="1469980840" sldId="2147483813"/>
              <pc:sldLayoutMk cId="1482617927" sldId="2147483835"/>
              <ac:spMk id="16" creationId="{00000000-0000-0000-0000-000000000000}"/>
            </ac:spMkLst>
          </pc:spChg>
        </pc:sldLayoutChg>
      </pc:sldMasterChg>
      <pc:sldMasterChg chg="delSp mod modSldLayout">
        <pc:chgData name="Suchy, Petr" userId="cc7d24c2-a1aa-4346-9baa-25b838949cf3" providerId="ADAL" clId="{285E8249-F71A-4E9D-BDFD-B9AF03B3C290}" dt="2023-02-20T15:37:55.616" v="64" actId="478"/>
        <pc:sldMasterMkLst>
          <pc:docMk/>
          <pc:sldMasterMk cId="2140199101" sldId="2147483838"/>
        </pc:sldMasterMkLst>
        <pc:spChg chg="del">
          <ac:chgData name="Suchy, Petr" userId="cc7d24c2-a1aa-4346-9baa-25b838949cf3" providerId="ADAL" clId="{285E8249-F71A-4E9D-BDFD-B9AF03B3C290}" dt="2023-02-20T15:36:20.990" v="1" actId="478"/>
          <ac:spMkLst>
            <pc:docMk/>
            <pc:sldMasterMk cId="2140199101" sldId="2147483838"/>
            <ac:spMk id="8" creationId="{00000000-0000-0000-0000-000000000000}"/>
          </ac:spMkLst>
        </pc:spChg>
        <pc:spChg chg="del">
          <ac:chgData name="Suchy, Petr" userId="cc7d24c2-a1aa-4346-9baa-25b838949cf3" providerId="ADAL" clId="{285E8249-F71A-4E9D-BDFD-B9AF03B3C290}" dt="2023-02-20T15:36:20.026" v="0" actId="478"/>
          <ac:spMkLst>
            <pc:docMk/>
            <pc:sldMasterMk cId="2140199101" sldId="2147483838"/>
            <ac:spMk id="15" creationId="{00000000-0000-0000-0000-000000000000}"/>
          </ac:spMkLst>
        </pc:spChg>
        <pc:sldLayoutChg chg="delSp mod">
          <pc:chgData name="Suchy, Petr" userId="cc7d24c2-a1aa-4346-9baa-25b838949cf3" providerId="ADAL" clId="{285E8249-F71A-4E9D-BDFD-B9AF03B3C290}" dt="2023-02-20T15:37:23.291" v="42" actId="478"/>
          <pc:sldLayoutMkLst>
            <pc:docMk/>
            <pc:sldMasterMk cId="2140199101" sldId="2147483838"/>
            <pc:sldLayoutMk cId="208070883" sldId="2147483842"/>
          </pc:sldLayoutMkLst>
          <pc:spChg chg="del">
            <ac:chgData name="Suchy, Petr" userId="cc7d24c2-a1aa-4346-9baa-25b838949cf3" providerId="ADAL" clId="{285E8249-F71A-4E9D-BDFD-B9AF03B3C290}" dt="2023-02-20T15:37:22.423" v="41" actId="478"/>
            <ac:spMkLst>
              <pc:docMk/>
              <pc:sldMasterMk cId="2140199101" sldId="2147483838"/>
              <pc:sldLayoutMk cId="208070883" sldId="2147483842"/>
              <ac:spMk id="4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23.291" v="42" actId="478"/>
            <ac:spMkLst>
              <pc:docMk/>
              <pc:sldMasterMk cId="2140199101" sldId="2147483838"/>
              <pc:sldLayoutMk cId="208070883" sldId="2147483842"/>
              <ac:spMk id="7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26.339" v="44" actId="478"/>
          <pc:sldLayoutMkLst>
            <pc:docMk/>
            <pc:sldMasterMk cId="2140199101" sldId="2147483838"/>
            <pc:sldLayoutMk cId="525841950" sldId="2147483843"/>
          </pc:sldLayoutMkLst>
          <pc:spChg chg="del">
            <ac:chgData name="Suchy, Petr" userId="cc7d24c2-a1aa-4346-9baa-25b838949cf3" providerId="ADAL" clId="{285E8249-F71A-4E9D-BDFD-B9AF03B3C290}" dt="2023-02-20T15:37:25.494" v="43" actId="478"/>
            <ac:spMkLst>
              <pc:docMk/>
              <pc:sldMasterMk cId="2140199101" sldId="2147483838"/>
              <pc:sldLayoutMk cId="525841950" sldId="2147483843"/>
              <ac:spMk id="4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26.339" v="44" actId="478"/>
            <ac:spMkLst>
              <pc:docMk/>
              <pc:sldMasterMk cId="2140199101" sldId="2147483838"/>
              <pc:sldLayoutMk cId="525841950" sldId="2147483843"/>
              <ac:spMk id="7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29.045" v="46" actId="478"/>
          <pc:sldLayoutMkLst>
            <pc:docMk/>
            <pc:sldMasterMk cId="2140199101" sldId="2147483838"/>
            <pc:sldLayoutMk cId="2975744543" sldId="2147483844"/>
          </pc:sldLayoutMkLst>
          <pc:spChg chg="del">
            <ac:chgData name="Suchy, Petr" userId="cc7d24c2-a1aa-4346-9baa-25b838949cf3" providerId="ADAL" clId="{285E8249-F71A-4E9D-BDFD-B9AF03B3C290}" dt="2023-02-20T15:37:28.179" v="45" actId="478"/>
            <ac:spMkLst>
              <pc:docMk/>
              <pc:sldMasterMk cId="2140199101" sldId="2147483838"/>
              <pc:sldLayoutMk cId="2975744543" sldId="2147483844"/>
              <ac:spMk id="4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29.045" v="46" actId="478"/>
            <ac:spMkLst>
              <pc:docMk/>
              <pc:sldMasterMk cId="2140199101" sldId="2147483838"/>
              <pc:sldLayoutMk cId="2975744543" sldId="2147483844"/>
              <ac:spMk id="7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32.446" v="48" actId="478"/>
          <pc:sldLayoutMkLst>
            <pc:docMk/>
            <pc:sldMasterMk cId="2140199101" sldId="2147483838"/>
            <pc:sldLayoutMk cId="454366012" sldId="2147483845"/>
          </pc:sldLayoutMkLst>
          <pc:spChg chg="del">
            <ac:chgData name="Suchy, Petr" userId="cc7d24c2-a1aa-4346-9baa-25b838949cf3" providerId="ADAL" clId="{285E8249-F71A-4E9D-BDFD-B9AF03B3C290}" dt="2023-02-20T15:37:31.319" v="47" actId="478"/>
            <ac:spMkLst>
              <pc:docMk/>
              <pc:sldMasterMk cId="2140199101" sldId="2147483838"/>
              <pc:sldLayoutMk cId="454366012" sldId="2147483845"/>
              <ac:spMk id="5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32.446" v="48" actId="478"/>
            <ac:spMkLst>
              <pc:docMk/>
              <pc:sldMasterMk cId="2140199101" sldId="2147483838"/>
              <pc:sldLayoutMk cId="454366012" sldId="2147483845"/>
              <ac:spMk id="8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35.758" v="50" actId="478"/>
          <pc:sldLayoutMkLst>
            <pc:docMk/>
            <pc:sldMasterMk cId="2140199101" sldId="2147483838"/>
            <pc:sldLayoutMk cId="4025234950" sldId="2147483846"/>
          </pc:sldLayoutMkLst>
          <pc:spChg chg="del">
            <ac:chgData name="Suchy, Petr" userId="cc7d24c2-a1aa-4346-9baa-25b838949cf3" providerId="ADAL" clId="{285E8249-F71A-4E9D-BDFD-B9AF03B3C290}" dt="2023-02-20T15:37:34.956" v="49" actId="478"/>
            <ac:spMkLst>
              <pc:docMk/>
              <pc:sldMasterMk cId="2140199101" sldId="2147483838"/>
              <pc:sldLayoutMk cId="4025234950" sldId="2147483846"/>
              <ac:spMk id="3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35.758" v="50" actId="478"/>
            <ac:spMkLst>
              <pc:docMk/>
              <pc:sldMasterMk cId="2140199101" sldId="2147483838"/>
              <pc:sldLayoutMk cId="4025234950" sldId="2147483846"/>
              <ac:spMk id="7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38.364" v="52" actId="478"/>
          <pc:sldLayoutMkLst>
            <pc:docMk/>
            <pc:sldMasterMk cId="2140199101" sldId="2147483838"/>
            <pc:sldLayoutMk cId="1772328365" sldId="2147483847"/>
          </pc:sldLayoutMkLst>
          <pc:spChg chg="del">
            <ac:chgData name="Suchy, Petr" userId="cc7d24c2-a1aa-4346-9baa-25b838949cf3" providerId="ADAL" clId="{285E8249-F71A-4E9D-BDFD-B9AF03B3C290}" dt="2023-02-20T15:37:37.610" v="51" actId="478"/>
            <ac:spMkLst>
              <pc:docMk/>
              <pc:sldMasterMk cId="2140199101" sldId="2147483838"/>
              <pc:sldLayoutMk cId="1772328365" sldId="2147483847"/>
              <ac:spMk id="5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38.364" v="52" actId="478"/>
            <ac:spMkLst>
              <pc:docMk/>
              <pc:sldMasterMk cId="2140199101" sldId="2147483838"/>
              <pc:sldLayoutMk cId="1772328365" sldId="2147483847"/>
              <ac:spMk id="8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41.107" v="54" actId="478"/>
          <pc:sldLayoutMkLst>
            <pc:docMk/>
            <pc:sldMasterMk cId="2140199101" sldId="2147483838"/>
            <pc:sldLayoutMk cId="1243530516" sldId="2147483854"/>
          </pc:sldLayoutMkLst>
          <pc:spChg chg="del">
            <ac:chgData name="Suchy, Petr" userId="cc7d24c2-a1aa-4346-9baa-25b838949cf3" providerId="ADAL" clId="{285E8249-F71A-4E9D-BDFD-B9AF03B3C290}" dt="2023-02-20T15:37:40.285" v="53" actId="478"/>
            <ac:spMkLst>
              <pc:docMk/>
              <pc:sldMasterMk cId="2140199101" sldId="2147483838"/>
              <pc:sldLayoutMk cId="1243530516" sldId="2147483854"/>
              <ac:spMk id="12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41.107" v="54" actId="478"/>
            <ac:spMkLst>
              <pc:docMk/>
              <pc:sldMasterMk cId="2140199101" sldId="2147483838"/>
              <pc:sldLayoutMk cId="1243530516" sldId="2147483854"/>
              <ac:spMk id="18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44.117" v="56" actId="478"/>
          <pc:sldLayoutMkLst>
            <pc:docMk/>
            <pc:sldMasterMk cId="2140199101" sldId="2147483838"/>
            <pc:sldLayoutMk cId="4068520781" sldId="2147483857"/>
          </pc:sldLayoutMkLst>
          <pc:spChg chg="del">
            <ac:chgData name="Suchy, Petr" userId="cc7d24c2-a1aa-4346-9baa-25b838949cf3" providerId="ADAL" clId="{285E8249-F71A-4E9D-BDFD-B9AF03B3C290}" dt="2023-02-20T15:37:43.176" v="55" actId="478"/>
            <ac:spMkLst>
              <pc:docMk/>
              <pc:sldMasterMk cId="2140199101" sldId="2147483838"/>
              <pc:sldLayoutMk cId="4068520781" sldId="2147483857"/>
              <ac:spMk id="11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44.117" v="56" actId="478"/>
            <ac:spMkLst>
              <pc:docMk/>
              <pc:sldMasterMk cId="2140199101" sldId="2147483838"/>
              <pc:sldLayoutMk cId="4068520781" sldId="2147483857"/>
              <ac:spMk id="20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46.783" v="58" actId="478"/>
          <pc:sldLayoutMkLst>
            <pc:docMk/>
            <pc:sldMasterMk cId="2140199101" sldId="2147483838"/>
            <pc:sldLayoutMk cId="1686668125" sldId="2147483858"/>
          </pc:sldLayoutMkLst>
          <pc:spChg chg="del">
            <ac:chgData name="Suchy, Petr" userId="cc7d24c2-a1aa-4346-9baa-25b838949cf3" providerId="ADAL" clId="{285E8249-F71A-4E9D-BDFD-B9AF03B3C290}" dt="2023-02-20T15:37:45.985" v="57" actId="478"/>
            <ac:spMkLst>
              <pc:docMk/>
              <pc:sldMasterMk cId="2140199101" sldId="2147483838"/>
              <pc:sldLayoutMk cId="1686668125" sldId="2147483858"/>
              <ac:spMk id="18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46.783" v="58" actId="478"/>
            <ac:spMkLst>
              <pc:docMk/>
              <pc:sldMasterMk cId="2140199101" sldId="2147483838"/>
              <pc:sldLayoutMk cId="1686668125" sldId="2147483858"/>
              <ac:spMk id="25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49.477" v="60" actId="478"/>
          <pc:sldLayoutMkLst>
            <pc:docMk/>
            <pc:sldMasterMk cId="2140199101" sldId="2147483838"/>
            <pc:sldLayoutMk cId="1103060316" sldId="2147483859"/>
          </pc:sldLayoutMkLst>
          <pc:spChg chg="del">
            <ac:chgData name="Suchy, Petr" userId="cc7d24c2-a1aa-4346-9baa-25b838949cf3" providerId="ADAL" clId="{285E8249-F71A-4E9D-BDFD-B9AF03B3C290}" dt="2023-02-20T15:37:48.701" v="59" actId="478"/>
            <ac:spMkLst>
              <pc:docMk/>
              <pc:sldMasterMk cId="2140199101" sldId="2147483838"/>
              <pc:sldLayoutMk cId="1103060316" sldId="2147483859"/>
              <ac:spMk id="6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49.477" v="60" actId="478"/>
            <ac:spMkLst>
              <pc:docMk/>
              <pc:sldMasterMk cId="2140199101" sldId="2147483838"/>
              <pc:sldLayoutMk cId="1103060316" sldId="2147483859"/>
              <ac:spMk id="23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52.671" v="62" actId="478"/>
          <pc:sldLayoutMkLst>
            <pc:docMk/>
            <pc:sldMasterMk cId="2140199101" sldId="2147483838"/>
            <pc:sldLayoutMk cId="539646457" sldId="2147483860"/>
          </pc:sldLayoutMkLst>
          <pc:spChg chg="del">
            <ac:chgData name="Suchy, Petr" userId="cc7d24c2-a1aa-4346-9baa-25b838949cf3" providerId="ADAL" clId="{285E8249-F71A-4E9D-BDFD-B9AF03B3C290}" dt="2023-02-20T15:37:51.881" v="61" actId="478"/>
            <ac:spMkLst>
              <pc:docMk/>
              <pc:sldMasterMk cId="2140199101" sldId="2147483838"/>
              <pc:sldLayoutMk cId="539646457" sldId="2147483860"/>
              <ac:spMk id="7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52.671" v="62" actId="478"/>
            <ac:spMkLst>
              <pc:docMk/>
              <pc:sldMasterMk cId="2140199101" sldId="2147483838"/>
              <pc:sldLayoutMk cId="539646457" sldId="2147483860"/>
              <ac:spMk id="13" creationId="{00000000-0000-0000-0000-000000000000}"/>
            </ac:spMkLst>
          </pc:spChg>
        </pc:sldLayoutChg>
        <pc:sldLayoutChg chg="delSp mod">
          <pc:chgData name="Suchy, Petr" userId="cc7d24c2-a1aa-4346-9baa-25b838949cf3" providerId="ADAL" clId="{285E8249-F71A-4E9D-BDFD-B9AF03B3C290}" dt="2023-02-20T15:37:55.616" v="64" actId="478"/>
          <pc:sldLayoutMkLst>
            <pc:docMk/>
            <pc:sldMasterMk cId="2140199101" sldId="2147483838"/>
            <pc:sldLayoutMk cId="1634063922" sldId="2147483861"/>
          </pc:sldLayoutMkLst>
          <pc:spChg chg="del">
            <ac:chgData name="Suchy, Petr" userId="cc7d24c2-a1aa-4346-9baa-25b838949cf3" providerId="ADAL" clId="{285E8249-F71A-4E9D-BDFD-B9AF03B3C290}" dt="2023-02-20T15:37:54.783" v="63" actId="478"/>
            <ac:spMkLst>
              <pc:docMk/>
              <pc:sldMasterMk cId="2140199101" sldId="2147483838"/>
              <pc:sldLayoutMk cId="1634063922" sldId="2147483861"/>
              <ac:spMk id="13" creationId="{00000000-0000-0000-0000-000000000000}"/>
            </ac:spMkLst>
          </pc:spChg>
          <pc:spChg chg="del">
            <ac:chgData name="Suchy, Petr" userId="cc7d24c2-a1aa-4346-9baa-25b838949cf3" providerId="ADAL" clId="{285E8249-F71A-4E9D-BDFD-B9AF03B3C290}" dt="2023-02-20T15:37:55.616" v="64" actId="478"/>
            <ac:spMkLst>
              <pc:docMk/>
              <pc:sldMasterMk cId="2140199101" sldId="2147483838"/>
              <pc:sldLayoutMk cId="1634063922" sldId="2147483861"/>
              <ac:spMk id="21" creationId="{00000000-0000-0000-0000-000000000000}"/>
            </ac:spMkLst>
          </pc:spChg>
        </pc:sldLayoutChg>
      </pc:sldMasterChg>
    </pc:docChg>
  </pc:docChgLst>
  <pc:docChgLst>
    <pc:chgData name="Suchy, Petr" userId="cc7d24c2-a1aa-4346-9baa-25b838949cf3" providerId="ADAL" clId="{A05FA829-CF70-41A4-9502-CB0030169BDE}"/>
    <pc:docChg chg="modSld">
      <pc:chgData name="Suchy, Petr" userId="cc7d24c2-a1aa-4346-9baa-25b838949cf3" providerId="ADAL" clId="{A05FA829-CF70-41A4-9502-CB0030169BDE}" dt="2022-02-20T15:21:57.037" v="0" actId="6549"/>
      <pc:docMkLst>
        <pc:docMk/>
      </pc:docMkLst>
      <pc:sldChg chg="modSp mod">
        <pc:chgData name="Suchy, Petr" userId="cc7d24c2-a1aa-4346-9baa-25b838949cf3" providerId="ADAL" clId="{A05FA829-CF70-41A4-9502-CB0030169BDE}" dt="2022-02-20T15:21:57.037" v="0" actId="6549"/>
        <pc:sldMkLst>
          <pc:docMk/>
          <pc:sldMk cId="4082661168" sldId="480"/>
        </pc:sldMkLst>
        <pc:spChg chg="mod">
          <ac:chgData name="Suchy, Petr" userId="cc7d24c2-a1aa-4346-9baa-25b838949cf3" providerId="ADAL" clId="{A05FA829-CF70-41A4-9502-CB0030169BDE}" dt="2022-02-20T15:21:57.037" v="0" actId="6549"/>
          <ac:spMkLst>
            <pc:docMk/>
            <pc:sldMk cId="4082661168" sldId="480"/>
            <ac:spMk id="5" creationId="{00000000-0000-0000-0000-000000000000}"/>
          </ac:spMkLst>
        </pc:spChg>
      </pc:sldChg>
    </pc:docChg>
  </pc:docChgLst>
  <pc:docChgLst>
    <pc:chgData name="Suchy, Petr" userId="cc7d24c2-a1aa-4346-9baa-25b838949cf3" providerId="ADAL" clId="{2A4D9704-753F-4153-90ED-8CEAFF986BFB}"/>
    <pc:docChg chg="delSld modSld">
      <pc:chgData name="Suchy, Petr" userId="cc7d24c2-a1aa-4346-9baa-25b838949cf3" providerId="ADAL" clId="{2A4D9704-753F-4153-90ED-8CEAFF986BFB}" dt="2022-05-02T14:57:07.631" v="2" actId="47"/>
      <pc:docMkLst>
        <pc:docMk/>
      </pc:docMkLst>
      <pc:sldChg chg="del">
        <pc:chgData name="Suchy, Petr" userId="cc7d24c2-a1aa-4346-9baa-25b838949cf3" providerId="ADAL" clId="{2A4D9704-753F-4153-90ED-8CEAFF986BFB}" dt="2022-05-02T14:57:07.631" v="2" actId="47"/>
        <pc:sldMkLst>
          <pc:docMk/>
          <pc:sldMk cId="2255567566" sldId="473"/>
        </pc:sldMkLst>
      </pc:sldChg>
      <pc:sldChg chg="modSp mod">
        <pc:chgData name="Suchy, Petr" userId="cc7d24c2-a1aa-4346-9baa-25b838949cf3" providerId="ADAL" clId="{2A4D9704-753F-4153-90ED-8CEAFF986BFB}" dt="2022-05-02T14:56:47.282" v="0" actId="6549"/>
        <pc:sldMkLst>
          <pc:docMk/>
          <pc:sldMk cId="1236578333" sldId="490"/>
        </pc:sldMkLst>
        <pc:spChg chg="mod">
          <ac:chgData name="Suchy, Petr" userId="cc7d24c2-a1aa-4346-9baa-25b838949cf3" providerId="ADAL" clId="{2A4D9704-753F-4153-90ED-8CEAFF986BFB}" dt="2022-05-02T14:56:47.282" v="0" actId="6549"/>
          <ac:spMkLst>
            <pc:docMk/>
            <pc:sldMk cId="1236578333" sldId="490"/>
            <ac:spMk id="3" creationId="{00000000-0000-0000-0000-000000000000}"/>
          </ac:spMkLst>
        </pc:spChg>
      </pc:sldChg>
      <pc:sldChg chg="del">
        <pc:chgData name="Suchy, Petr" userId="cc7d24c2-a1aa-4346-9baa-25b838949cf3" providerId="ADAL" clId="{2A4D9704-753F-4153-90ED-8CEAFF986BFB}" dt="2022-05-02T14:57:06.645" v="1" actId="47"/>
        <pc:sldMkLst>
          <pc:docMk/>
          <pc:sldMk cId="3133675517" sldId="549"/>
        </pc:sldMkLst>
      </pc:sldChg>
      <pc:sldChg chg="del">
        <pc:chgData name="Suchy, Petr" userId="cc7d24c2-a1aa-4346-9baa-25b838949cf3" providerId="ADAL" clId="{2A4D9704-753F-4153-90ED-8CEAFF986BFB}" dt="2022-05-02T14:57:06.645" v="1" actId="47"/>
        <pc:sldMkLst>
          <pc:docMk/>
          <pc:sldMk cId="3334712487" sldId="571"/>
        </pc:sldMkLst>
      </pc:sldChg>
      <pc:sldMasterChg chg="delSldLayout">
        <pc:chgData name="Suchy, Petr" userId="cc7d24c2-a1aa-4346-9baa-25b838949cf3" providerId="ADAL" clId="{2A4D9704-753F-4153-90ED-8CEAFF986BFB}" dt="2022-05-02T14:57:06.645" v="1" actId="47"/>
        <pc:sldMasterMkLst>
          <pc:docMk/>
          <pc:sldMasterMk cId="1021819445" sldId="2147483788"/>
        </pc:sldMasterMkLst>
        <pc:sldLayoutChg chg="del">
          <pc:chgData name="Suchy, Petr" userId="cc7d24c2-a1aa-4346-9baa-25b838949cf3" providerId="ADAL" clId="{2A4D9704-753F-4153-90ED-8CEAFF986BFB}" dt="2022-05-02T14:57:06.645" v="1" actId="47"/>
          <pc:sldLayoutMkLst>
            <pc:docMk/>
            <pc:sldMasterMk cId="1021819445" sldId="2147483788"/>
            <pc:sldLayoutMk cId="1636432319" sldId="2147483865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3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20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3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2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88" tIns="49243" rIns="98488" bIns="4924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8"/>
          </a:xfrm>
          <a:prstGeom prst="rect">
            <a:avLst/>
          </a:prstGeom>
        </p:spPr>
        <p:txBody>
          <a:bodyPr vert="horz" lIns="98488" tIns="49243" rIns="98488" bIns="4924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247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4133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162818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456824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053583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2780590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005738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848098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903212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8145167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992406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object 2"/>
          <p:cNvSpPr/>
          <p:nvPr userDrawn="1"/>
        </p:nvSpPr>
        <p:spPr>
          <a:xfrm>
            <a:off x="376239" y="2018187"/>
            <a:ext cx="1632204" cy="7559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4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36115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0869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4217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645745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83675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B8857E-B5DE-40A9-A68C-29428EAA068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442996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5E58715-D9E3-496D-A9DD-196B92D95BE9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824262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30FBB61-A025-4BD4-82C1-D5258D1319B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82264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F37FC4CC-C1F0-46F7-A2B8-89123006AD73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054286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F6B69B0-99E6-45DD-96E0-DDBE529001D0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633177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AB07749-9DCC-43C0-BF04-BD894389FA42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679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731648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2642757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1220835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45248781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5359594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5938133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79624316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66F802C-6AD7-460E-9A1D-F6CA0ED45534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59447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5472740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CA73565-3E9F-424E-A170-1490924916D5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669515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EA9870E-37B4-4C56-9679-41857420FC11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55400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3303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B5233C9A-67D7-4E39-BED9-7B6977CB528C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11892452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D28D66E-E672-4A08-B157-E854CEA7EB48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1201013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B253530-60DA-4BBA-9AF7-92273194C34E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48261792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31242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59940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31242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3057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5317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98865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0174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B8233B8-9FA3-4E81-8B20-DB786CF8072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07088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584195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114132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DBD2319-F4B2-4189-A449-4EF0403C7B27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574454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426EE9F-C07A-4365-885C-EC11BE0B5723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36601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523495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2328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246129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729419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7895023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5172689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6107636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317105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: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778060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656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656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353051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92559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24000" y="1827213"/>
            <a:ext cx="2124000" cy="969448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72088324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_1_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852078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971888" y="4028809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34000" y="1827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624000" y="1827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29704" y="4256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628764" y="4256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2" name="Picture Placeholder 2"/>
          <p:cNvSpPr>
            <a:spLocks noGrp="1" noChangeAspect="1"/>
          </p:cNvSpPr>
          <p:nvPr>
            <p:ph type="pic" sz="quarter" idx="36"/>
          </p:nvPr>
        </p:nvSpPr>
        <p:spPr>
          <a:xfrm>
            <a:off x="376236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3" name="Picture Placeholder 2"/>
          <p:cNvSpPr>
            <a:spLocks noGrp="1" noChangeAspect="1"/>
          </p:cNvSpPr>
          <p:nvPr>
            <p:ph type="pic" sz="quarter" idx="37"/>
          </p:nvPr>
        </p:nvSpPr>
        <p:spPr>
          <a:xfrm>
            <a:off x="4972090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668125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03060316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3964645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3406392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29337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08274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3684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889986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56496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904249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oleObject" Target="../embeddings/oleObject9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oleObject" Target="../embeddings/oleObject18.bin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 dirty="0"/>
              <a:t>Edit Master text styles</a:t>
            </a:r>
          </a:p>
          <a:p>
            <a:pPr lvl="1"/>
            <a:r>
              <a:rPr lang="en-US" altLang="cs-CZ" dirty="0"/>
              <a:t>Second level</a:t>
            </a:r>
          </a:p>
          <a:p>
            <a:pPr lvl="2"/>
            <a:r>
              <a:rPr lang="en-US" altLang="cs-CZ" dirty="0"/>
              <a:t>Third level</a:t>
            </a:r>
          </a:p>
          <a:p>
            <a:pPr lvl="3"/>
            <a:r>
              <a:rPr lang="en-US" altLang="cs-CZ" dirty="0"/>
              <a:t>Fourth level</a:t>
            </a:r>
          </a:p>
          <a:p>
            <a:pPr lvl="4"/>
            <a:r>
              <a:rPr lang="en-US" altLang="cs-CZ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1819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3" r:id="rId2"/>
    <p:sldLayoutId id="2147483796" r:id="rId3"/>
    <p:sldLayoutId id="2147483797" r:id="rId4"/>
    <p:sldLayoutId id="2147483798" r:id="rId5"/>
    <p:sldLayoutId id="2147483864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205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Click to edit Master title style</a:t>
            </a:r>
          </a:p>
        </p:txBody>
      </p:sp>
      <p:sp>
        <p:nvSpPr>
          <p:cNvPr id="2054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 dirty="0" err="1"/>
              <a:t>Click</a:t>
            </a:r>
            <a:r>
              <a:rPr lang="cs-CZ" altLang="cs-CZ" dirty="0"/>
              <a:t> to </a:t>
            </a:r>
            <a:r>
              <a:rPr lang="cs-CZ" altLang="cs-CZ" dirty="0" err="1"/>
              <a:t>edit</a:t>
            </a:r>
            <a:r>
              <a:rPr lang="cs-CZ" altLang="cs-CZ" dirty="0"/>
              <a:t> Master text </a:t>
            </a:r>
            <a:r>
              <a:rPr lang="cs-CZ" altLang="cs-CZ" dirty="0" err="1"/>
              <a:t>styles</a:t>
            </a:r>
            <a:endParaRPr lang="cs-CZ" altLang="cs-CZ" dirty="0"/>
          </a:p>
          <a:p>
            <a:pPr lvl="1"/>
            <a:r>
              <a:rPr lang="cs-CZ" altLang="cs-CZ" dirty="0"/>
              <a:t>Second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2"/>
            <a:r>
              <a:rPr lang="cs-CZ" altLang="cs-CZ" dirty="0" err="1"/>
              <a:t>Third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3"/>
            <a:r>
              <a:rPr lang="cs-CZ" altLang="cs-CZ" dirty="0" err="1"/>
              <a:t>Four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4"/>
            <a:r>
              <a:rPr lang="cs-CZ" altLang="cs-CZ" dirty="0" err="1"/>
              <a:t>Fif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57F65DA-840F-4037-A34E-8CB3E2C9A8DF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9980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</p:sldLayoutIdLst>
  <p:transition>
    <p:fade/>
  </p:transition>
  <p:hf hdr="0" dt="0"/>
  <p:txStyles>
    <p:titleStyle>
      <a:lvl1pPr algn="l" rtl="0" fontAlgn="base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Edit Master text styles</a:t>
            </a:r>
          </a:p>
          <a:p>
            <a:pPr lvl="1"/>
            <a:r>
              <a:rPr lang="en-US" altLang="cs-CZ"/>
              <a:t>Second level</a:t>
            </a:r>
          </a:p>
          <a:p>
            <a:pPr lvl="2"/>
            <a:r>
              <a:rPr lang="en-US" altLang="cs-CZ"/>
              <a:t>Third level</a:t>
            </a:r>
          </a:p>
          <a:p>
            <a:pPr lvl="3"/>
            <a:r>
              <a:rPr lang="en-US" altLang="cs-CZ"/>
              <a:t>Fourth level</a:t>
            </a:r>
          </a:p>
          <a:p>
            <a:pPr lvl="4"/>
            <a:r>
              <a:rPr lang="en-US" altLang="cs-CZ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0199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  <p:sldLayoutId id="2147483859" r:id="rId21"/>
    <p:sldLayoutId id="2147483860" r:id="rId22"/>
    <p:sldLayoutId id="2147483861" r:id="rId23"/>
    <p:sldLayoutId id="2147483862" r:id="rId24"/>
    <p:sldLayoutId id="2147483863" r:id="rId25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7145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58775" y="5731243"/>
            <a:ext cx="4178299" cy="585852"/>
          </a:xfrm>
        </p:spPr>
        <p:txBody>
          <a:bodyPr/>
          <a:lstStyle/>
          <a:p>
            <a:r>
              <a:rPr lang="cs-CZ" sz="2800" dirty="0"/>
              <a:t>Fúze a akvizice (10)</a:t>
            </a:r>
          </a:p>
          <a:p>
            <a:r>
              <a:rPr lang="cs-CZ" sz="1600" b="0" dirty="0"/>
              <a:t>JUDr. Ivan </a:t>
            </a:r>
            <a:r>
              <a:rPr lang="cs-CZ" sz="1600" b="0" dirty="0" err="1"/>
              <a:t>Telecký</a:t>
            </a:r>
            <a:r>
              <a:rPr lang="cs-CZ" sz="1600" b="0" dirty="0"/>
              <a:t>, Ph.D. </a:t>
            </a:r>
          </a:p>
          <a:p>
            <a:r>
              <a:rPr lang="cs-CZ" sz="1600" b="0" dirty="0"/>
              <a:t>Mgr. Petr Suchý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8775" y="6381750"/>
            <a:ext cx="4195762" cy="29845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908" y="795214"/>
            <a:ext cx="4626179" cy="4406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66116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O</a:t>
            </a:r>
            <a:r>
              <a:rPr lang="cs-CZ" sz="2400" b="1" dirty="0" err="1"/>
              <a:t>snova</a:t>
            </a:r>
            <a:r>
              <a:rPr lang="cs-CZ" sz="2400" b="1" dirty="0"/>
              <a:t> seminář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1" indent="-342900">
              <a:buFont typeface="+mj-lt"/>
              <a:buAutoNum type="arabicPeriod"/>
            </a:pPr>
            <a:r>
              <a:rPr lang="cs-CZ" sz="1800" b="1" dirty="0"/>
              <a:t>Soutěžní aspekty spojování podniků​</a:t>
            </a:r>
          </a:p>
          <a:p>
            <a:pPr marL="342900" lvl="1" indent="-342900">
              <a:buFont typeface="+mj-lt"/>
              <a:buAutoNum type="arabicPeriod"/>
            </a:pPr>
            <a:r>
              <a:rPr lang="cs-CZ" sz="1800" b="1" dirty="0"/>
              <a:t>Prověřování zahraničních investic</a:t>
            </a:r>
          </a:p>
          <a:p>
            <a:pPr marL="361950" lvl="1" indent="-361950">
              <a:buFont typeface="+mj-lt"/>
              <a:buAutoNum type="arabicPeriod"/>
            </a:pPr>
            <a:endParaRPr lang="cs-CZ" sz="1800" b="1" dirty="0"/>
          </a:p>
        </p:txBody>
      </p:sp>
    </p:spTree>
    <p:extLst>
      <p:ext uri="{BB962C8B-B14F-4D97-AF65-F5344CB8AC3E}">
        <p14:creationId xmlns:p14="http://schemas.microsoft.com/office/powerpoint/2010/main" val="123657833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Soutěžní aspekty spojování podniků</a:t>
            </a:r>
            <a:br>
              <a:rPr lang="cs-CZ" dirty="0"/>
            </a:br>
            <a:r>
              <a:rPr lang="cs-CZ" b="0" dirty="0"/>
              <a:t>Kontrola koncentrací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5248355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ávní úprav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dmínky pro posuzování spojování soutěžitelů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/>
              <a:t>Česká republik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z</a:t>
            </a:r>
            <a:r>
              <a:rPr lang="cs-CZ" dirty="0" err="1"/>
              <a:t>ákon</a:t>
            </a:r>
            <a:r>
              <a:rPr lang="cs-CZ" dirty="0"/>
              <a:t> č. 143/2001 Sb., o ochraně hospodářské soutěž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vyhláška Úřadu pro ochranu hospodářské soutěže (ÚOHS) č. 252/2009 Sb., kterou se stanoví náležitosti návrhu na povolení spojení soutěžitelů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oznámení ÚOHS (tzv. </a:t>
            </a:r>
            <a:r>
              <a:rPr lang="cs-CZ" dirty="0" err="1"/>
              <a:t>guidelines</a:t>
            </a:r>
            <a:r>
              <a:rPr lang="cs-CZ" dirty="0"/>
              <a:t> / oznámení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/>
          </a:p>
          <a:p>
            <a:r>
              <a:rPr lang="cs-CZ" b="1" dirty="0"/>
              <a:t>Evropská Un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 err="1"/>
              <a:t>nařízení</a:t>
            </a:r>
            <a:r>
              <a:rPr lang="pl-PL" dirty="0"/>
              <a:t> Rady č. 139/2004 o kontrole </a:t>
            </a:r>
            <a:r>
              <a:rPr lang="pl-PL" dirty="0" err="1"/>
              <a:t>spojování</a:t>
            </a:r>
            <a:r>
              <a:rPr lang="pl-PL" dirty="0"/>
              <a:t> </a:t>
            </a:r>
            <a:r>
              <a:rPr lang="pl-PL" dirty="0" err="1"/>
              <a:t>podniků</a:t>
            </a: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rováděcí předpisy Komise: nařízení, sdělení, poky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7661525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bratová kritéria – Česká republik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dmínky pro posuzování spojování soutěžitelů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/>
              <a:t>Spojení soutěžitelů podléhá povolení úřadu, jestliže:</a:t>
            </a:r>
          </a:p>
          <a:p>
            <a:r>
              <a:rPr lang="cs-CZ" dirty="0"/>
              <a:t>A)</a:t>
            </a:r>
          </a:p>
          <a:p>
            <a:pPr marL="342900" indent="-342900">
              <a:buFont typeface="+mj-lt"/>
              <a:buAutoNum type="arabicPeriod"/>
            </a:pPr>
            <a:r>
              <a:rPr lang="cs-CZ" dirty="0"/>
              <a:t>celkový čistý obrat všech spojujících se soutěžitelů dosažený za poslední účetní období na trhu České republiky je vyšší než 1,5 miliardy Kč a zároveň</a:t>
            </a:r>
          </a:p>
          <a:p>
            <a:pPr marL="342900" indent="-342900">
              <a:buFont typeface="+mj-lt"/>
              <a:buAutoNum type="arabicPeriod"/>
            </a:pPr>
            <a:r>
              <a:rPr lang="cs-CZ" dirty="0"/>
              <a:t>alespoň dva ze spojujících se soutěžitelů dosáhli každý za poslední účetní období na trhu České republiky čistého obratu vyššího než 250 milionů Kč</a:t>
            </a:r>
          </a:p>
          <a:p>
            <a:r>
              <a:rPr lang="cs-CZ" b="1" dirty="0"/>
              <a:t>Nebo</a:t>
            </a:r>
          </a:p>
          <a:p>
            <a:r>
              <a:rPr lang="cs-CZ" dirty="0"/>
              <a:t>B)</a:t>
            </a:r>
          </a:p>
          <a:p>
            <a:pPr marL="342900" indent="-342900">
              <a:buFont typeface="+mj-lt"/>
              <a:buAutoNum type="arabicPeriod"/>
            </a:pPr>
            <a:r>
              <a:rPr lang="cs-CZ" dirty="0"/>
              <a:t>čistý obrat dosažený za poslední účetní období na trhu České republiky alespoň jedním z účastníků fúze je vyšší než 1,5 miliardy Kč a zároveň</a:t>
            </a:r>
          </a:p>
          <a:p>
            <a:pPr marL="342900" indent="-342900">
              <a:buFont typeface="+mj-lt"/>
              <a:buAutoNum type="arabicPeriod"/>
            </a:pPr>
            <a:r>
              <a:rPr lang="cs-CZ" dirty="0"/>
              <a:t>čistý obrat dosažený za poslední účetní období dalším spojujícím se soutěžitelem je vyšší než 1,5 miliardy Kč</a:t>
            </a:r>
          </a:p>
          <a:p>
            <a:r>
              <a:rPr lang="cs-CZ" dirty="0"/>
              <a:t>Pro účely bodu B1 se má na mysli nejen dosažení jedním z účastníků fúze, ale i soutěžitelem nebo jeho částí, nad nímž je získávána kontrola nebo alespoň jedním ze soutěžitelů zakládajících společně kontrolovaného soutěžitele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6064649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bratová kritéria – Evropská Uni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dmínky pro posuzování spojování soutěžitelů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400" b="1" dirty="0"/>
              <a:t>Evropská komise </a:t>
            </a:r>
            <a:r>
              <a:rPr lang="en-US" sz="1400" b="1" dirty="0"/>
              <a:t>m</a:t>
            </a:r>
            <a:r>
              <a:rPr lang="cs-CZ" sz="1400" b="1" dirty="0"/>
              <a:t>á pravomoc k povolování spojení soutěžitelů pokud:</a:t>
            </a:r>
          </a:p>
          <a:p>
            <a:pPr marL="342900" indent="-342900">
              <a:buAutoNum type="alphaLcParenR"/>
            </a:pPr>
            <a:r>
              <a:rPr lang="cs-CZ" sz="1400" dirty="0"/>
              <a:t>celkový celosvětový </a:t>
            </a:r>
            <a:r>
              <a:rPr lang="cs-CZ" sz="1400" u="sng" dirty="0"/>
              <a:t>obrat všech</a:t>
            </a:r>
            <a:r>
              <a:rPr lang="cs-CZ" sz="1400" dirty="0"/>
              <a:t> dotčených podniků </a:t>
            </a:r>
            <a:r>
              <a:rPr lang="cs-CZ" sz="1400" u="sng" dirty="0"/>
              <a:t>přesahuje 5 miliard EUR </a:t>
            </a:r>
            <a:r>
              <a:rPr lang="cs-CZ" sz="1400" dirty="0"/>
              <a:t>a</a:t>
            </a:r>
          </a:p>
          <a:p>
            <a:pPr marL="342900" indent="-342900">
              <a:buAutoNum type="alphaLcParenR"/>
            </a:pPr>
            <a:r>
              <a:rPr lang="cs-CZ" sz="1400" dirty="0"/>
              <a:t>celkový </a:t>
            </a:r>
            <a:r>
              <a:rPr lang="cs-CZ" sz="1400" u="sng" dirty="0"/>
              <a:t>obrat každého z nejméně dvou</a:t>
            </a:r>
            <a:r>
              <a:rPr lang="cs-CZ" sz="1400" dirty="0"/>
              <a:t> dotčených podniků v rámci celého Společenství </a:t>
            </a:r>
            <a:r>
              <a:rPr lang="cs-CZ" sz="1400" u="sng" dirty="0"/>
              <a:t>přesahuje 250 milionů EUR</a:t>
            </a:r>
            <a:r>
              <a:rPr lang="cs-CZ" sz="1400" dirty="0"/>
              <a:t>,</a:t>
            </a:r>
          </a:p>
          <a:p>
            <a:r>
              <a:rPr lang="cs-CZ" sz="1400" dirty="0"/>
              <a:t>pokud žádný z dotčených podniků </a:t>
            </a:r>
            <a:r>
              <a:rPr lang="cs-CZ" sz="1400" u="sng" dirty="0"/>
              <a:t>nedosáhne v jednom a témž členském státě více než dvou třetin svého celkového obratu</a:t>
            </a:r>
            <a:r>
              <a:rPr lang="cs-CZ" sz="1400" dirty="0"/>
              <a:t> v rámci celého Společenství.</a:t>
            </a:r>
          </a:p>
          <a:p>
            <a:r>
              <a:rPr lang="cs-CZ" sz="1400" b="1" dirty="0"/>
              <a:t>nebo:</a:t>
            </a:r>
          </a:p>
          <a:p>
            <a:pPr marL="342900" indent="-342900">
              <a:buAutoNum type="alphaLcParenR"/>
            </a:pPr>
            <a:r>
              <a:rPr lang="cs-CZ" sz="1400" dirty="0"/>
              <a:t>celkový celosvětový </a:t>
            </a:r>
            <a:r>
              <a:rPr lang="cs-CZ" sz="1400" u="sng" dirty="0"/>
              <a:t>obrat všech </a:t>
            </a:r>
            <a:r>
              <a:rPr lang="cs-CZ" sz="1400" dirty="0"/>
              <a:t>dotčených podniků </a:t>
            </a:r>
            <a:r>
              <a:rPr lang="cs-CZ" sz="1400" u="sng" dirty="0"/>
              <a:t>přesahuje 2,5 miliardy EUR</a:t>
            </a:r>
            <a:r>
              <a:rPr lang="cs-CZ" sz="1400" dirty="0"/>
              <a:t>; </a:t>
            </a:r>
          </a:p>
          <a:p>
            <a:pPr marL="342900" indent="-342900">
              <a:buAutoNum type="alphaLcParenR"/>
            </a:pPr>
            <a:r>
              <a:rPr lang="cs-CZ" sz="1400" dirty="0"/>
              <a:t>v každém z nejméně tří členských států celkový obrat všech dotčených podniků </a:t>
            </a:r>
            <a:r>
              <a:rPr lang="cs-CZ" sz="1400" u="sng" dirty="0"/>
              <a:t>přesahuje 100 milionů EUR</a:t>
            </a:r>
            <a:r>
              <a:rPr lang="cs-CZ" sz="1400" dirty="0"/>
              <a:t>;</a:t>
            </a:r>
          </a:p>
          <a:p>
            <a:pPr marL="342900" indent="-342900">
              <a:buAutoNum type="alphaLcParenR"/>
            </a:pPr>
            <a:r>
              <a:rPr lang="cs-CZ" sz="1400" dirty="0"/>
              <a:t>v každém z nejméně tří členských států uvedených pro účely písmena b) </a:t>
            </a:r>
            <a:r>
              <a:rPr lang="cs-CZ" sz="1400" u="sng" dirty="0"/>
              <a:t>převyšuje</a:t>
            </a:r>
            <a:r>
              <a:rPr lang="cs-CZ" sz="1400" dirty="0"/>
              <a:t> celkový obrat každého z nejméně dvou dotčených podniků </a:t>
            </a:r>
            <a:r>
              <a:rPr lang="cs-CZ" sz="1400" u="sng" dirty="0"/>
              <a:t>25 milionů EUR </a:t>
            </a:r>
            <a:r>
              <a:rPr lang="cs-CZ" sz="1400" dirty="0"/>
              <a:t>a </a:t>
            </a:r>
          </a:p>
          <a:p>
            <a:pPr marL="342900" indent="-342900">
              <a:buAutoNum type="alphaLcParenR"/>
            </a:pPr>
            <a:r>
              <a:rPr lang="cs-CZ" sz="1400" dirty="0"/>
              <a:t>celkový </a:t>
            </a:r>
            <a:r>
              <a:rPr lang="cs-CZ" sz="1400" u="sng" dirty="0"/>
              <a:t>obrat </a:t>
            </a:r>
            <a:r>
              <a:rPr lang="cs-CZ" sz="1400" dirty="0"/>
              <a:t>v rámci Společenství </a:t>
            </a:r>
            <a:r>
              <a:rPr lang="cs-CZ" sz="1400" u="sng" dirty="0"/>
              <a:t>každého z nejméně dvou dotčených podniků přesahuje 100 milionů EUR</a:t>
            </a:r>
            <a:r>
              <a:rPr lang="cs-CZ" sz="1400" dirty="0"/>
              <a:t>, </a:t>
            </a:r>
          </a:p>
          <a:p>
            <a:r>
              <a:rPr lang="cs-CZ" sz="1400" dirty="0"/>
              <a:t>pokud žádný z dotčených podniků </a:t>
            </a:r>
            <a:r>
              <a:rPr lang="cs-CZ" sz="1400" u="sng" dirty="0"/>
              <a:t>nedosáhne v jednom a témž členském státě více než dvou třetin svého celkového obratu </a:t>
            </a:r>
            <a:r>
              <a:rPr lang="cs-CZ" sz="1400" dirty="0"/>
              <a:t>v rámci celého Společenství.</a:t>
            </a:r>
            <a:endParaRPr lang="cs-CZ" sz="1400" b="1" dirty="0"/>
          </a:p>
        </p:txBody>
      </p:sp>
    </p:spTree>
    <p:extLst>
      <p:ext uri="{BB962C8B-B14F-4D97-AF65-F5344CB8AC3E}">
        <p14:creationId xmlns:p14="http://schemas.microsoft.com/office/powerpoint/2010/main" val="78324581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Prověřování zahraničních investic</a:t>
            </a:r>
          </a:p>
        </p:txBody>
      </p:sp>
    </p:spTree>
    <p:extLst>
      <p:ext uri="{BB962C8B-B14F-4D97-AF65-F5344CB8AC3E}">
        <p14:creationId xmlns:p14="http://schemas.microsoft.com/office/powerpoint/2010/main" val="3610908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ávní úprav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rověřování zahraničních investic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/>
              <a:t>Na základě Nařízení Evropského parlamentu a Rady (EU) 2019/452 byl přijat zákon č. 34/2021 Sb., o prověřování zahraničních investic a o změně souvisejících zákonů (zákon o prověřování zahraničních investic), který vstoupil v účinnost 1. května 2021</a:t>
            </a:r>
          </a:p>
          <a:p>
            <a:r>
              <a:rPr lang="cs-CZ" dirty="0"/>
              <a:t>Posuzování se vztahuje na zahraniční investory, jejichž konečný vlastník pochází ze země mimo EU. Zároveň jde o investice, které představují více než 10% podíl v české cílové firmě, a to v sektoru důležitém pro bezpečnost, veřejný či vnitřní pořádek České republiky, tj. obor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vojenský materiál, zboží dvojího užit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kritická infrastruktura, včetně správy IT systémů</a:t>
            </a:r>
          </a:p>
          <a:p>
            <a:r>
              <a:rPr lang="cs-CZ" dirty="0"/>
              <a:t>Povinnost požádat o souhlas s kapitálovým vstupem ještě před jeho uskutečněním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36216891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Děkujeme</a:t>
            </a:r>
            <a:r>
              <a:rPr lang="en-US" dirty="0"/>
              <a:t> za </a:t>
            </a:r>
            <a:r>
              <a:rPr lang="en-US" dirty="0" err="1"/>
              <a:t>pozornost</a:t>
            </a:r>
            <a:r>
              <a:rPr lang="cs-CZ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1878131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BB210AEC-30C4-4D33-A9D7-92281B8595B6}"/>
    </a:ext>
  </a:extLst>
</a:theme>
</file>

<file path=ppt/theme/theme2.xml><?xml version="1.0" encoding="utf-8"?>
<a:theme xmlns:a="http://schemas.openxmlformats.org/drawingml/2006/main" name="1_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7E8ADBEA-8125-4DC2-8F4A-7EC1901D8510}"/>
    </a:ext>
  </a:extLst>
</a:theme>
</file>

<file path=ppt/theme/theme3.xml><?xml version="1.0" encoding="utf-8"?>
<a:theme xmlns:a="http://schemas.openxmlformats.org/drawingml/2006/main" name="2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AA466677-0B70-4394-B835-6CA7B7CDD7F2}" vid="{26659DEE-6644-4940-8E86-154061B6F50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2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3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839E2485F14849BF17EAC021F2B0AB" ma:contentTypeVersion="9" ma:contentTypeDescription="Create a new document." ma:contentTypeScope="" ma:versionID="b13d3d8e0865196c6e5f8615a6f6817e">
  <xsd:schema xmlns:xsd="http://www.w3.org/2001/XMLSchema" xmlns:xs="http://www.w3.org/2001/XMLSchema" xmlns:p="http://schemas.microsoft.com/office/2006/metadata/properties" xmlns:ns2="773eaad9-340a-4574-907e-8d7109ca9488" xmlns:ns3="abcf9ee2-6e93-4c65-873a-c2359e6dbfb2" targetNamespace="http://schemas.microsoft.com/office/2006/metadata/properties" ma:root="true" ma:fieldsID="ce39ee399f4f89ce4e3f855741260029" ns2:_="" ns3:_="">
    <xsd:import namespace="773eaad9-340a-4574-907e-8d7109ca9488"/>
    <xsd:import namespace="abcf9ee2-6e93-4c65-873a-c2359e6dbf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3eaad9-340a-4574-907e-8d7109ca94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cf9ee2-6e93-4c65-873a-c2359e6dbfb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98943-B586-48C8-9078-A9A0CF907C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73eaad9-340a-4574-907e-8d7109ca9488"/>
    <ds:schemaRef ds:uri="abcf9ee2-6e93-4c65-873a-c2359e6dbf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E8BABDD-D204-43E5-ABE2-92F7DE3017EF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773eaad9-340a-4574-907e-8d7109ca9488"/>
    <ds:schemaRef ds:uri="abcf9ee2-6e93-4c65-873a-c2359e6dbfb2"/>
    <ds:schemaRef ds:uri="http://purl.org/dc/terms/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FB5F749A-0D62-44A0-B92C-5788FBC830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438</TotalTime>
  <Words>557</Words>
  <Application>Microsoft Office PowerPoint</Application>
  <PresentationFormat>On-screen Show (4:3)</PresentationFormat>
  <Paragraphs>51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Verdana</vt:lpstr>
      <vt:lpstr>1_Deloitte Presentation Template 2016 ENG</vt:lpstr>
      <vt:lpstr>1_Deloitte Presentation Template 2016 CZE</vt:lpstr>
      <vt:lpstr>2_Deloitte Presentation Template 2016 ENG</vt:lpstr>
      <vt:lpstr>think-cell Slide</vt:lpstr>
      <vt:lpstr>PowerPoint Presentation</vt:lpstr>
      <vt:lpstr>Osnova semináře</vt:lpstr>
      <vt:lpstr>Soutěžní aspekty spojování podniků Kontrola koncentrací</vt:lpstr>
      <vt:lpstr>Podmínky pro posuzování spojování soutěžitelů</vt:lpstr>
      <vt:lpstr>Podmínky pro posuzování spojování soutěžitelů</vt:lpstr>
      <vt:lpstr>Podmínky pro posuzování spojování soutěžitelů</vt:lpstr>
      <vt:lpstr>Prověřování zahraničních investic</vt:lpstr>
      <vt:lpstr>Prověřování zahraničních investic</vt:lpstr>
      <vt:lpstr>Děkujeme za pozornost.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chy, Petr (CZ - Prague)</dc:creator>
  <cp:lastModifiedBy>Suchy, Petr</cp:lastModifiedBy>
  <cp:revision>307</cp:revision>
  <cp:lastPrinted>2020-02-18T10:42:39Z</cp:lastPrinted>
  <dcterms:created xsi:type="dcterms:W3CDTF">2018-03-10T11:01:20Z</dcterms:created>
  <dcterms:modified xsi:type="dcterms:W3CDTF">2023-02-20T15:3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839E2485F14849BF17EAC021F2B0AB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2-20T15:19:4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2d295dc3-55d4-4dc2-811a-b51c3843de88</vt:lpwstr>
  </property>
  <property fmtid="{D5CDD505-2E9C-101B-9397-08002B2CF9AE}" pid="9" name="MSIP_Label_ea60d57e-af5b-4752-ac57-3e4f28ca11dc_ContentBits">
    <vt:lpwstr>0</vt:lpwstr>
  </property>
</Properties>
</file>